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694" r:id="rId3"/>
    <p:sldMasterId id="2147483711" r:id="rId4"/>
  </p:sldMasterIdLst>
  <p:sldIdLst>
    <p:sldId id="258" r:id="rId5"/>
    <p:sldId id="259" r:id="rId6"/>
    <p:sldId id="260" r:id="rId7"/>
    <p:sldId id="257" r:id="rId8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0" d="100"/>
          <a:sy n="100" d="100"/>
        </p:scale>
        <p:origin x="-70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oleObject" Target="../embeddings/oleObject3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.xml"/><Relationship Id="rId7" Type="http://schemas.openxmlformats.org/officeDocument/2006/relationships/oleObject" Target="../embeddings/oleObject7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9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7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0.xml"/><Relationship Id="rId7" Type="http://schemas.openxmlformats.org/officeDocument/2006/relationships/oleObject" Target="../embeddings/oleObject34.bin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9"/>
            <a:ext cx="77724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310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1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61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13" y="205686"/>
            <a:ext cx="7740035" cy="543399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64589" y="1409678"/>
            <a:ext cx="8222212" cy="4754562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00133A"/>
                </a:solidFill>
              </a:defRPr>
            </a:lvl1pPr>
            <a:lvl2pPr marL="5760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rgbClr val="00133A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rgbClr val="00133A"/>
                </a:solidFill>
              </a:defRPr>
            </a:lvl3pPr>
            <a:lvl4pPr marL="1344613" indent="-266700"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rgbClr val="00133A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00133A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477904" y="789321"/>
            <a:ext cx="5718176" cy="411683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3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88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7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9500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1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2" hidden="1"/>
          <p:cNvGraphicFramePr>
            <a:graphicFrameLocks noChangeAspect="1"/>
          </p:cNvGraphicFramePr>
          <p:nvPr/>
        </p:nvGraphicFramePr>
        <p:xfrm>
          <a:off x="1589" y="161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9" y="238130"/>
            <a:ext cx="7852492" cy="4857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>
            <a:lvl1pPr>
              <a:defRPr lang="fr-FR" dirty="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 style du titr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34979" y="723900"/>
            <a:ext cx="5365324" cy="408864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0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88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7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71764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1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61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7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88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34975" y="1638300"/>
            <a:ext cx="4068786" cy="4584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4667331" y="1638300"/>
            <a:ext cx="4047727" cy="4584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436960" y="734727"/>
            <a:ext cx="5718176" cy="411683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/>
          </a:p>
        </p:txBody>
      </p:sp>
      <p:sp>
        <p:nvSpPr>
          <p:cNvPr id="1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7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5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762422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6"/>
            <a:ext cx="9144000" cy="6855688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04800" y="6511916"/>
            <a:ext cx="2133600" cy="365125"/>
          </a:xfrm>
        </p:spPr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80761" y="6491741"/>
            <a:ext cx="2895600" cy="365125"/>
          </a:xfrm>
        </p:spPr>
        <p:txBody>
          <a:bodyPr/>
          <a:lstStyle>
            <a:lvl1pPr>
              <a:defRPr i="1"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  <a:latin typeface="DINOT-Bold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818721" y="6491740"/>
            <a:ext cx="2133600" cy="365125"/>
          </a:xfrm>
        </p:spPr>
        <p:txBody>
          <a:bodyPr/>
          <a:lstStyle>
            <a:lvl1pPr>
              <a:defRPr sz="14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8354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573" y="350113"/>
            <a:ext cx="8422670" cy="63020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5571" y="1285200"/>
            <a:ext cx="8424000" cy="5144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072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3112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34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5"/>
            <a:ext cx="77724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1277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374504" y="6376263"/>
            <a:ext cx="2133600" cy="365125"/>
          </a:xfrm>
        </p:spPr>
        <p:txBody>
          <a:bodyPr/>
          <a:lstStyle>
            <a:lvl1pPr algn="ctr">
              <a:defRPr sz="9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467547" y="980728"/>
            <a:ext cx="8136904" cy="0"/>
          </a:xfrm>
          <a:prstGeom prst="line">
            <a:avLst/>
          </a:prstGeom>
          <a:ln w="19050">
            <a:solidFill>
              <a:srgbClr val="D600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653521" y="6165304"/>
            <a:ext cx="1061639" cy="678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/>
          <p:cNvSpPr txBox="1"/>
          <p:nvPr userDrawn="1"/>
        </p:nvSpPr>
        <p:spPr>
          <a:xfrm>
            <a:off x="6444208" y="476691"/>
            <a:ext cx="2267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b="1" i="1" dirty="0">
                <a:solidFill>
                  <a:srgbClr val="D60093"/>
                </a:solidFill>
              </a:rPr>
              <a:t>Plan Programme 2016</a:t>
            </a:r>
          </a:p>
        </p:txBody>
      </p:sp>
      <p:sp>
        <p:nvSpPr>
          <p:cNvPr id="12" name="Arrondir un rectangle avec un coin diagonal 11"/>
          <p:cNvSpPr/>
          <p:nvPr userDrawn="1"/>
        </p:nvSpPr>
        <p:spPr>
          <a:xfrm>
            <a:off x="7020275" y="457508"/>
            <a:ext cx="1656184" cy="523220"/>
          </a:xfrm>
          <a:prstGeom prst="round2DiagRect">
            <a:avLst/>
          </a:prstGeom>
          <a:noFill/>
          <a:ln w="19050">
            <a:solidFill>
              <a:srgbClr val="D600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50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6"/>
            <a:ext cx="9144000" cy="685568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20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DINOT-Bold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DINOT-Bold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804224" y="332656"/>
            <a:ext cx="2077227" cy="124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79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228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374504" y="6376267"/>
            <a:ext cx="2133600" cy="365125"/>
          </a:xfrm>
        </p:spPr>
        <p:txBody>
          <a:bodyPr/>
          <a:lstStyle>
            <a:lvl1pPr algn="ctr">
              <a:defRPr sz="9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467547" y="980728"/>
            <a:ext cx="8136904" cy="0"/>
          </a:xfrm>
          <a:prstGeom prst="line">
            <a:avLst/>
          </a:prstGeom>
          <a:ln w="19050">
            <a:solidFill>
              <a:srgbClr val="D600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653523" y="6165304"/>
            <a:ext cx="1061639" cy="678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/>
          <p:cNvSpPr txBox="1"/>
          <p:nvPr userDrawn="1"/>
        </p:nvSpPr>
        <p:spPr>
          <a:xfrm>
            <a:off x="6444208" y="476695"/>
            <a:ext cx="2267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b="1" i="1" dirty="0">
                <a:solidFill>
                  <a:srgbClr val="D60093"/>
                </a:solidFill>
              </a:rPr>
              <a:t>Plan Programme 2016</a:t>
            </a:r>
          </a:p>
        </p:txBody>
      </p:sp>
      <p:sp>
        <p:nvSpPr>
          <p:cNvPr id="12" name="Arrondir un rectangle avec un coin diagonal 11"/>
          <p:cNvSpPr/>
          <p:nvPr userDrawn="1"/>
        </p:nvSpPr>
        <p:spPr>
          <a:xfrm>
            <a:off x="7020275" y="457508"/>
            <a:ext cx="1656184" cy="523220"/>
          </a:xfrm>
          <a:prstGeom prst="round2DiagRect">
            <a:avLst/>
          </a:prstGeom>
          <a:noFill/>
          <a:ln w="19050">
            <a:solidFill>
              <a:srgbClr val="D600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1271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1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79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9028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79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112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79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2743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5988"/>
            <a:ext cx="9144000" cy="6513808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51149" y="6489713"/>
            <a:ext cx="2133600" cy="365125"/>
          </a:xfrm>
        </p:spPr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6488916"/>
            <a:ext cx="2895600" cy="365125"/>
          </a:xfrm>
        </p:spPr>
        <p:txBody>
          <a:bodyPr/>
          <a:lstStyle>
            <a:lvl1pPr>
              <a:defRPr i="1"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57200" y="1321356"/>
            <a:ext cx="82296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  <a:latin typeface="DINOT-Bold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956197" y="6447839"/>
            <a:ext cx="2133600" cy="365125"/>
          </a:xfrm>
        </p:spPr>
        <p:txBody>
          <a:bodyPr/>
          <a:lstStyle>
            <a:lvl1pPr>
              <a:defRPr sz="16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016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8"/>
          <p:cNvGrpSpPr/>
          <p:nvPr userDrawn="1"/>
        </p:nvGrpSpPr>
        <p:grpSpPr>
          <a:xfrm>
            <a:off x="-180528" y="-630832"/>
            <a:ext cx="9324528" cy="7156176"/>
            <a:chOff x="-900608" y="-1395536"/>
            <a:chExt cx="12055642" cy="9041732"/>
          </a:xfrm>
        </p:grpSpPr>
        <p:pic>
          <p:nvPicPr>
            <p:cNvPr id="5" name="Image 4" descr="0000. PlanStrat MasquePPT3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900608" y="-1395536"/>
              <a:ext cx="12055642" cy="9041732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 userDrawn="1"/>
          </p:nvSpPr>
          <p:spPr>
            <a:xfrm>
              <a:off x="-540568" y="-1179512"/>
              <a:ext cx="2088232" cy="1179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1/10/2016</a:t>
            </a:fld>
            <a:endParaRPr lang="fr-F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69775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3839" y="681038"/>
            <a:ext cx="5922963" cy="592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Logo LMG moyen.emf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055" y="187325"/>
            <a:ext cx="1739900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34402" y="3564349"/>
            <a:ext cx="8275203" cy="553998"/>
          </a:xfrm>
        </p:spPr>
        <p:txBody>
          <a:bodyPr tIns="0" bIns="0">
            <a:spAutoFit/>
          </a:bodyPr>
          <a:lstStyle>
            <a:lvl1pPr algn="r">
              <a:defRPr sz="3600" b="0" cap="all" baseline="0">
                <a:solidFill>
                  <a:srgbClr val="93117E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34399" y="4184757"/>
            <a:ext cx="8275203" cy="523220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2800" b="0" cap="all" baseline="0">
                <a:solidFill>
                  <a:srgbClr val="00133A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434399" y="5981700"/>
            <a:ext cx="8275203" cy="400050"/>
          </a:xfrm>
          <a:prstGeom prst="rect">
            <a:avLst/>
          </a:prstGeom>
        </p:spPr>
        <p:txBody>
          <a:bodyPr/>
          <a:lstStyle>
            <a:lvl1pPr algn="r">
              <a:defRPr sz="1200" b="0" cap="all" baseline="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40726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11" y="205686"/>
            <a:ext cx="7740035" cy="543399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64589" y="1409678"/>
            <a:ext cx="8222212" cy="4754562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00133A"/>
                </a:solidFill>
              </a:defRPr>
            </a:lvl1pPr>
            <a:lvl2pPr marL="5760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rgbClr val="00133A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rgbClr val="00133A"/>
                </a:solidFill>
              </a:defRPr>
            </a:lvl3pPr>
            <a:lvl4pPr marL="1344613" indent="-266700"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rgbClr val="00133A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00133A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477904" y="789321"/>
            <a:ext cx="5718176" cy="411683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3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86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7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7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7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57571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2" hidden="1"/>
          <p:cNvGraphicFramePr>
            <a:graphicFrameLocks noChangeAspect="1"/>
          </p:cNvGraphicFramePr>
          <p:nvPr/>
        </p:nvGraphicFramePr>
        <p:xfrm>
          <a:off x="1589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9" y="238130"/>
            <a:ext cx="7852492" cy="4857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>
            <a:lvl1pPr>
              <a:defRPr lang="fr-FR" dirty="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 style du titr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34979" y="723900"/>
            <a:ext cx="5365324" cy="408864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0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86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7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7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7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414407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7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86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34975" y="1638300"/>
            <a:ext cx="4068786" cy="4584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4667329" y="1638300"/>
            <a:ext cx="4047727" cy="4584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436960" y="734727"/>
            <a:ext cx="5718176" cy="411683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7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/>
          </a:p>
        </p:txBody>
      </p:sp>
      <p:sp>
        <p:nvSpPr>
          <p:cNvPr id="1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7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5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7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19195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6"/>
            <a:ext cx="9144000" cy="6855688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04800" y="6511912"/>
            <a:ext cx="2133600" cy="365125"/>
          </a:xfrm>
        </p:spPr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80761" y="6491737"/>
            <a:ext cx="2895600" cy="365125"/>
          </a:xfrm>
        </p:spPr>
        <p:txBody>
          <a:bodyPr/>
          <a:lstStyle>
            <a:lvl1pPr>
              <a:defRPr i="1"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  <a:latin typeface="DINOT-Bold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818721" y="6491736"/>
            <a:ext cx="2133600" cy="365125"/>
          </a:xfrm>
        </p:spPr>
        <p:txBody>
          <a:bodyPr/>
          <a:lstStyle>
            <a:lvl1pPr>
              <a:defRPr sz="14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158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6"/>
            <a:ext cx="9144000" cy="685568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24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DINOT-Bold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DINOT-Bold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804224" y="332656"/>
            <a:ext cx="2077227" cy="124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83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5732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573" y="350113"/>
            <a:ext cx="8422670" cy="63020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5571" y="1285200"/>
            <a:ext cx="8424000" cy="5144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7542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19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216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37"/>
            <a:ext cx="77724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65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374504" y="6376255"/>
            <a:ext cx="2133600" cy="365125"/>
          </a:xfrm>
        </p:spPr>
        <p:txBody>
          <a:bodyPr/>
          <a:lstStyle>
            <a:lvl1pPr algn="ctr">
              <a:defRPr sz="9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467547" y="980728"/>
            <a:ext cx="8136904" cy="0"/>
          </a:xfrm>
          <a:prstGeom prst="line">
            <a:avLst/>
          </a:prstGeom>
          <a:ln w="19050">
            <a:solidFill>
              <a:srgbClr val="D600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653517" y="6165304"/>
            <a:ext cx="1061639" cy="678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/>
          <p:cNvSpPr txBox="1"/>
          <p:nvPr userDrawn="1"/>
        </p:nvSpPr>
        <p:spPr>
          <a:xfrm>
            <a:off x="6444208" y="476683"/>
            <a:ext cx="2267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b="1" i="1" dirty="0">
                <a:solidFill>
                  <a:srgbClr val="D60093"/>
                </a:solidFill>
              </a:rPr>
              <a:t>Plan Programme 2016</a:t>
            </a:r>
          </a:p>
        </p:txBody>
      </p:sp>
      <p:sp>
        <p:nvSpPr>
          <p:cNvPr id="12" name="Arrondir un rectangle avec un coin diagonal 11"/>
          <p:cNvSpPr/>
          <p:nvPr userDrawn="1"/>
        </p:nvSpPr>
        <p:spPr>
          <a:xfrm>
            <a:off x="7020275" y="457508"/>
            <a:ext cx="1656184" cy="523220"/>
          </a:xfrm>
          <a:prstGeom prst="round2DiagRect">
            <a:avLst/>
          </a:prstGeom>
          <a:noFill/>
          <a:ln w="19050">
            <a:solidFill>
              <a:srgbClr val="D600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4801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6"/>
            <a:ext cx="9144000" cy="685568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DINOT-Bold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DINOT-Bold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804224" y="332656"/>
            <a:ext cx="2077227" cy="124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71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9072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1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71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7222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71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6994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71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009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5988"/>
            <a:ext cx="9144000" cy="6513808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51149" y="6489705"/>
            <a:ext cx="2133600" cy="365125"/>
          </a:xfrm>
        </p:spPr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6488908"/>
            <a:ext cx="2895600" cy="365125"/>
          </a:xfrm>
        </p:spPr>
        <p:txBody>
          <a:bodyPr/>
          <a:lstStyle>
            <a:lvl1pPr>
              <a:defRPr i="1"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57200" y="1321356"/>
            <a:ext cx="82296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  <a:latin typeface="DINOT-Bold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956197" y="6447831"/>
            <a:ext cx="2133600" cy="365125"/>
          </a:xfrm>
        </p:spPr>
        <p:txBody>
          <a:bodyPr/>
          <a:lstStyle>
            <a:lvl1pPr>
              <a:defRPr sz="16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1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83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7546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8"/>
          <p:cNvGrpSpPr/>
          <p:nvPr userDrawn="1"/>
        </p:nvGrpSpPr>
        <p:grpSpPr>
          <a:xfrm>
            <a:off x="-180528" y="-630832"/>
            <a:ext cx="9324528" cy="7156176"/>
            <a:chOff x="-900608" y="-1395536"/>
            <a:chExt cx="12055642" cy="9041732"/>
          </a:xfrm>
        </p:grpSpPr>
        <p:pic>
          <p:nvPicPr>
            <p:cNvPr id="5" name="Image 4" descr="0000. PlanStrat MasquePPT3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900608" y="-1395536"/>
              <a:ext cx="12055642" cy="9041732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 userDrawn="1"/>
          </p:nvSpPr>
          <p:spPr>
            <a:xfrm>
              <a:off x="-540568" y="-1179512"/>
              <a:ext cx="2088232" cy="1179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1/10/2016</a:t>
            </a:fld>
            <a:endParaRPr lang="fr-F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545942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3839" y="681038"/>
            <a:ext cx="5922963" cy="592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Logo LMG moyen.emf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055" y="187325"/>
            <a:ext cx="1739900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34402" y="3564349"/>
            <a:ext cx="8275203" cy="553998"/>
          </a:xfrm>
        </p:spPr>
        <p:txBody>
          <a:bodyPr tIns="0" bIns="0">
            <a:spAutoFit/>
          </a:bodyPr>
          <a:lstStyle>
            <a:lvl1pPr algn="r">
              <a:defRPr sz="3600" b="0" cap="all" baseline="0">
                <a:solidFill>
                  <a:srgbClr val="93117E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34399" y="4184757"/>
            <a:ext cx="8275203" cy="523220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2800" b="0" cap="all" baseline="0">
                <a:solidFill>
                  <a:srgbClr val="00133A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434399" y="5981700"/>
            <a:ext cx="8275203" cy="400050"/>
          </a:xfrm>
          <a:prstGeom prst="rect">
            <a:avLst/>
          </a:prstGeom>
        </p:spPr>
        <p:txBody>
          <a:bodyPr/>
          <a:lstStyle>
            <a:lvl1pPr algn="r">
              <a:defRPr sz="1200" b="0" cap="all" baseline="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850394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07" y="205686"/>
            <a:ext cx="7740035" cy="543399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64589" y="1409678"/>
            <a:ext cx="8222212" cy="4754562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00133A"/>
                </a:solidFill>
              </a:defRPr>
            </a:lvl1pPr>
            <a:lvl2pPr marL="5760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rgbClr val="00133A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rgbClr val="00133A"/>
                </a:solidFill>
              </a:defRPr>
            </a:lvl3pPr>
            <a:lvl4pPr marL="1344613" indent="-266700"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rgbClr val="00133A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00133A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477904" y="789321"/>
            <a:ext cx="5718176" cy="411683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3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82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6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2977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2" hidden="1"/>
          <p:cNvGraphicFramePr>
            <a:graphicFrameLocks noChangeAspect="1"/>
          </p:cNvGraphicFramePr>
          <p:nvPr/>
        </p:nvGraphicFramePr>
        <p:xfrm>
          <a:off x="1589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9" y="238130"/>
            <a:ext cx="7852492" cy="4857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>
            <a:lvl1pPr>
              <a:defRPr lang="fr-FR" dirty="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 style du titr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34979" y="723900"/>
            <a:ext cx="5365324" cy="408864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0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82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6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9420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7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82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34975" y="1638300"/>
            <a:ext cx="4068786" cy="4584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4667325" y="1638300"/>
            <a:ext cx="4047727" cy="4584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436960" y="734727"/>
            <a:ext cx="5718176" cy="411683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/>
          </a:p>
        </p:txBody>
      </p:sp>
      <p:sp>
        <p:nvSpPr>
          <p:cNvPr id="1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6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5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265155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6"/>
            <a:ext cx="9144000" cy="6855688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04800" y="6511904"/>
            <a:ext cx="2133600" cy="365125"/>
          </a:xfrm>
        </p:spPr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80761" y="6491729"/>
            <a:ext cx="2895600" cy="365125"/>
          </a:xfrm>
        </p:spPr>
        <p:txBody>
          <a:bodyPr/>
          <a:lstStyle>
            <a:lvl1pPr>
              <a:defRPr i="1"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  <a:latin typeface="DINOT-Bold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818721" y="6491728"/>
            <a:ext cx="2133600" cy="365125"/>
          </a:xfrm>
        </p:spPr>
        <p:txBody>
          <a:bodyPr/>
          <a:lstStyle>
            <a:lvl1pPr>
              <a:defRPr sz="14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4787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573" y="350113"/>
            <a:ext cx="8422670" cy="63020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5571" y="1285200"/>
            <a:ext cx="8424000" cy="5144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7391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0357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1261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04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83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6509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374504" y="6376247"/>
            <a:ext cx="2133600" cy="365125"/>
          </a:xfrm>
        </p:spPr>
        <p:txBody>
          <a:bodyPr/>
          <a:lstStyle>
            <a:lvl1pPr algn="ctr">
              <a:defRPr sz="9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467545" y="980728"/>
            <a:ext cx="8136904" cy="0"/>
          </a:xfrm>
          <a:prstGeom prst="line">
            <a:avLst/>
          </a:prstGeom>
          <a:ln w="19050">
            <a:solidFill>
              <a:srgbClr val="D600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653513" y="6165304"/>
            <a:ext cx="1061639" cy="678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/>
          <p:cNvSpPr txBox="1"/>
          <p:nvPr userDrawn="1"/>
        </p:nvSpPr>
        <p:spPr>
          <a:xfrm>
            <a:off x="6444208" y="476675"/>
            <a:ext cx="2267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b="1" i="1" dirty="0">
                <a:solidFill>
                  <a:srgbClr val="D60093"/>
                </a:solidFill>
              </a:rPr>
              <a:t>Plan Programme 2016</a:t>
            </a:r>
          </a:p>
        </p:txBody>
      </p:sp>
      <p:sp>
        <p:nvSpPr>
          <p:cNvPr id="12" name="Arrondir un rectangle avec un coin diagonal 11"/>
          <p:cNvSpPr/>
          <p:nvPr userDrawn="1"/>
        </p:nvSpPr>
        <p:spPr>
          <a:xfrm>
            <a:off x="7020274" y="457508"/>
            <a:ext cx="1656184" cy="523220"/>
          </a:xfrm>
          <a:prstGeom prst="round2DiagRect">
            <a:avLst/>
          </a:prstGeom>
          <a:noFill/>
          <a:ln w="19050">
            <a:solidFill>
              <a:srgbClr val="D600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0348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6"/>
            <a:ext cx="9144000" cy="685568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DINOT-Bold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DINOT-Bold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804223" y="332656"/>
            <a:ext cx="2077227" cy="124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63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9524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1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63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1148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63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9371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63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284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5988"/>
            <a:ext cx="9144000" cy="6513808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51149" y="6489697"/>
            <a:ext cx="2133600" cy="365125"/>
          </a:xfrm>
        </p:spPr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6488900"/>
            <a:ext cx="2895600" cy="365125"/>
          </a:xfrm>
        </p:spPr>
        <p:txBody>
          <a:bodyPr/>
          <a:lstStyle>
            <a:lvl1pPr>
              <a:defRPr i="1"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57200" y="1321356"/>
            <a:ext cx="82296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  <a:latin typeface="DINOT-Bold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956197" y="6447823"/>
            <a:ext cx="2133600" cy="365125"/>
          </a:xfrm>
        </p:spPr>
        <p:txBody>
          <a:bodyPr/>
          <a:lstStyle>
            <a:lvl1pPr>
              <a:defRPr sz="16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1093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8"/>
          <p:cNvGrpSpPr/>
          <p:nvPr userDrawn="1"/>
        </p:nvGrpSpPr>
        <p:grpSpPr>
          <a:xfrm>
            <a:off x="-180528" y="-630832"/>
            <a:ext cx="9324528" cy="7156176"/>
            <a:chOff x="-900608" y="-1395536"/>
            <a:chExt cx="12055642" cy="9041732"/>
          </a:xfrm>
        </p:grpSpPr>
        <p:pic>
          <p:nvPicPr>
            <p:cNvPr id="5" name="Image 4" descr="0000. PlanStrat MasquePPT3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900608" y="-1395536"/>
              <a:ext cx="12055642" cy="9041732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 userDrawn="1"/>
          </p:nvSpPr>
          <p:spPr>
            <a:xfrm>
              <a:off x="-540568" y="-1179512"/>
              <a:ext cx="2088232" cy="1179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1/10/2016</a:t>
            </a:fld>
            <a:endParaRPr lang="fr-F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13715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3839" y="681038"/>
            <a:ext cx="5922963" cy="592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Logo LMG moyen.emf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053" y="187325"/>
            <a:ext cx="1739900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34402" y="3564349"/>
            <a:ext cx="8275203" cy="553998"/>
          </a:xfrm>
        </p:spPr>
        <p:txBody>
          <a:bodyPr tIns="0" bIns="0">
            <a:spAutoFit/>
          </a:bodyPr>
          <a:lstStyle>
            <a:lvl1pPr algn="r">
              <a:defRPr sz="3600" b="0" cap="all" baseline="0">
                <a:solidFill>
                  <a:srgbClr val="93117E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34399" y="4184757"/>
            <a:ext cx="8275203" cy="523220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2800" b="0" cap="all" baseline="0">
                <a:solidFill>
                  <a:srgbClr val="00133A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434399" y="5981700"/>
            <a:ext cx="8275203" cy="400050"/>
          </a:xfrm>
          <a:prstGeom prst="rect">
            <a:avLst/>
          </a:prstGeom>
        </p:spPr>
        <p:txBody>
          <a:bodyPr/>
          <a:lstStyle>
            <a:lvl1pPr algn="r">
              <a:defRPr sz="1200" b="0" cap="all" baseline="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131253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03" y="205686"/>
            <a:ext cx="7740035" cy="543399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464589" y="1409678"/>
            <a:ext cx="8222212" cy="4754562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00133A"/>
                </a:solidFill>
              </a:defRPr>
            </a:lvl1pPr>
            <a:lvl2pPr marL="5760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rgbClr val="00133A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rgbClr val="00133A"/>
                </a:solidFill>
              </a:defRPr>
            </a:lvl3pPr>
            <a:lvl4pPr marL="1344613" indent="-266700">
              <a:buClr>
                <a:schemeClr val="tx2"/>
              </a:buClr>
              <a:buFont typeface="Wingdings" panose="05000000000000000000" pitchFamily="2" charset="2"/>
              <a:buChar char="§"/>
              <a:defRPr>
                <a:solidFill>
                  <a:srgbClr val="00133A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00133A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477904" y="789321"/>
            <a:ext cx="5718176" cy="411683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3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78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68358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2" hidden="1"/>
          <p:cNvGraphicFramePr>
            <a:graphicFrameLocks noChangeAspect="1"/>
          </p:cNvGraphicFramePr>
          <p:nvPr/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8" y="238130"/>
            <a:ext cx="7852492" cy="4857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>
            <a:lvl1pPr>
              <a:defRPr lang="fr-FR" dirty="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 style du titr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34978" y="723900"/>
            <a:ext cx="5365324" cy="408864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0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78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/>
          </a:p>
        </p:txBody>
      </p:sp>
      <p:sp>
        <p:nvSpPr>
          <p:cNvPr id="13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6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81678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520283"/>
            <a:ext cx="2133600" cy="365125"/>
          </a:xfrm>
        </p:spPr>
        <p:txBody>
          <a:bodyPr/>
          <a:lstStyle/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654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17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78" y="161926"/>
            <a:ext cx="606185" cy="60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34975" y="1638300"/>
            <a:ext cx="4068786" cy="4584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4667321" y="1638300"/>
            <a:ext cx="4047727" cy="4584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436960" y="734727"/>
            <a:ext cx="5718176" cy="411683"/>
          </a:xfrm>
          <a:prstGeom prst="rect">
            <a:avLst/>
          </a:prstGeom>
        </p:spPr>
        <p:txBody>
          <a:bodyPr/>
          <a:lstStyle>
            <a:lvl1pPr>
              <a:defRPr sz="2000" b="0" i="1">
                <a:solidFill>
                  <a:srgbClr val="00133A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/>
          </a:p>
        </p:txBody>
      </p:sp>
      <p:sp>
        <p:nvSpPr>
          <p:cNvPr id="1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lang="fr-FR" dirty="0"/>
          </a:p>
        </p:txBody>
      </p:sp>
      <p:sp>
        <p:nvSpPr>
          <p:cNvPr id="15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/>
              <a:t>page </a:t>
            </a:r>
            <a:fld id="{C797DFDA-DC48-470B-BC46-655590AEF8B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84052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6"/>
            <a:ext cx="9144000" cy="6855688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04800" y="6511896"/>
            <a:ext cx="2133600" cy="365125"/>
          </a:xfrm>
        </p:spPr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80761" y="6491721"/>
            <a:ext cx="2895600" cy="365125"/>
          </a:xfrm>
        </p:spPr>
        <p:txBody>
          <a:bodyPr/>
          <a:lstStyle>
            <a:lvl1pPr>
              <a:defRPr i="1"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  <a:latin typeface="DINOT-Bold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818721" y="6491720"/>
            <a:ext cx="2133600" cy="365125"/>
          </a:xfrm>
        </p:spPr>
        <p:txBody>
          <a:bodyPr/>
          <a:lstStyle>
            <a:lvl1pPr>
              <a:defRPr sz="14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9134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572" y="350113"/>
            <a:ext cx="8422670" cy="63020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5571" y="1285200"/>
            <a:ext cx="8424000" cy="5144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5295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2429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page </a:t>
            </a:r>
            <a:fld id="{C797DFDA-DC48-470B-BC46-655590AEF8B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795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5988"/>
            <a:ext cx="9144000" cy="6513808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51149" y="6489717"/>
            <a:ext cx="2133600" cy="365125"/>
          </a:xfrm>
        </p:spPr>
        <p:txBody>
          <a:bodyPr/>
          <a:lstStyle/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6488920"/>
            <a:ext cx="2895600" cy="365125"/>
          </a:xfrm>
        </p:spPr>
        <p:txBody>
          <a:bodyPr/>
          <a:lstStyle>
            <a:lvl1pPr>
              <a:defRPr i="1"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57200" y="1321356"/>
            <a:ext cx="82296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D60093"/>
                </a:solidFill>
                <a:latin typeface="DINOT-Bold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956197" y="6447843"/>
            <a:ext cx="2133600" cy="365125"/>
          </a:xfrm>
        </p:spPr>
        <p:txBody>
          <a:bodyPr/>
          <a:lstStyle>
            <a:lvl1pPr>
              <a:defRPr sz="1600"/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4390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8"/>
          <p:cNvGrpSpPr/>
          <p:nvPr userDrawn="1"/>
        </p:nvGrpSpPr>
        <p:grpSpPr>
          <a:xfrm>
            <a:off x="-180528" y="-630832"/>
            <a:ext cx="9324528" cy="7156176"/>
            <a:chOff x="-900608" y="-1395536"/>
            <a:chExt cx="12055642" cy="9041732"/>
          </a:xfrm>
        </p:grpSpPr>
        <p:pic>
          <p:nvPicPr>
            <p:cNvPr id="5" name="Image 4" descr="0000. PlanStrat MasquePPT3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900608" y="-1395536"/>
              <a:ext cx="12055642" cy="9041732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 userDrawn="1"/>
          </p:nvSpPr>
          <p:spPr>
            <a:xfrm>
              <a:off x="-540568" y="-1179512"/>
              <a:ext cx="2088232" cy="1179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1/10/2016</a:t>
            </a:fld>
            <a:endParaRPr lang="fr-F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t>Plan Programme LMG 2016</a:t>
            </a:r>
            <a:endParaRPr lang="fr-FR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84241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1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6" descr="C:\Users\Robin Mael\Documents\CAS BCG\140901 Malakoff Médéric\Fond Logo LMG 2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3839" y="681038"/>
            <a:ext cx="5922963" cy="592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Logo LMG moyen.emf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055" y="187325"/>
            <a:ext cx="1739900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34402" y="3564349"/>
            <a:ext cx="8275203" cy="553998"/>
          </a:xfrm>
        </p:spPr>
        <p:txBody>
          <a:bodyPr tIns="0" bIns="0">
            <a:spAutoFit/>
          </a:bodyPr>
          <a:lstStyle>
            <a:lvl1pPr algn="r">
              <a:defRPr sz="3600" b="0" cap="all" baseline="0">
                <a:solidFill>
                  <a:srgbClr val="93117E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34399" y="4184757"/>
            <a:ext cx="8275203" cy="523220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2800" b="0" cap="all" baseline="0">
                <a:solidFill>
                  <a:srgbClr val="00133A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434399" y="5981700"/>
            <a:ext cx="8275203" cy="400050"/>
          </a:xfrm>
          <a:prstGeom prst="rect">
            <a:avLst/>
          </a:prstGeom>
        </p:spPr>
        <p:txBody>
          <a:bodyPr/>
          <a:lstStyle>
            <a:lvl1pPr algn="r">
              <a:defRPr sz="1200" b="0" cap="all" baseline="0">
                <a:solidFill>
                  <a:srgbClr val="93117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02399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7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7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7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235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392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6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6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6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469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0EEA41-2C18-48F3-96BA-7576921C550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10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82AD3-7CD4-44F7-94A0-6D90EC5A6EF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66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Vision globale de l’utilisation des services de ARC</a:t>
            </a:r>
            <a:endParaRPr lang="fr-FR" dirty="0"/>
          </a:p>
        </p:txBody>
      </p:sp>
      <p:pic>
        <p:nvPicPr>
          <p:cNvPr id="3368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413" y="980728"/>
            <a:ext cx="5191347" cy="5786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296839" y="4544723"/>
            <a:ext cx="2094932" cy="208810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3593" y="2226878"/>
            <a:ext cx="1144706" cy="208810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514603" y="4544722"/>
            <a:ext cx="1047466" cy="208810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77673" y="4094328"/>
            <a:ext cx="1497087" cy="129653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408530" y="2363355"/>
            <a:ext cx="1299948" cy="163545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18967" y="980728"/>
            <a:ext cx="895635" cy="138260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627206" y="980746"/>
            <a:ext cx="2183639" cy="105733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4" name="Ellipse 3"/>
          <p:cNvSpPr/>
          <p:nvPr/>
        </p:nvSpPr>
        <p:spPr>
          <a:xfrm>
            <a:off x="5773003" y="1253680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1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5773003" y="1992571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2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5773003" y="2779590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3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770344" y="3632761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1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296842" y="4742597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2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3102409" y="4559581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3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5773003" y="3456703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4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5773003" y="4151374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5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5068636" y="4742597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4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4351177" y="3477357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5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5773003" y="4900589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6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1913725" y="1997304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6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5773003" y="5588756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7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5773003" y="6176472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8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4625638" y="1070664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7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6223379" y="1253699"/>
            <a:ext cx="2743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200" dirty="0" smtClean="0">
                <a:solidFill>
                  <a:prstClr val="black"/>
                </a:solidFill>
                <a:latin typeface="Arial" panose="020B0604020202020204" pitchFamily="34" charset="0"/>
              </a:rPr>
              <a:t>Eole permet réceptionner les propositions commerciales signées. </a:t>
            </a:r>
            <a:endParaRPr lang="fr-FR" sz="12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173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incipes des capacités de ARC</a:t>
            </a:r>
            <a:endParaRPr lang="fr-FR" dirty="0"/>
          </a:p>
        </p:txBody>
      </p:sp>
      <p:pic>
        <p:nvPicPr>
          <p:cNvPr id="3379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38" y="1310182"/>
            <a:ext cx="5381970" cy="5281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3502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RC et gestion de la qualité</a:t>
            </a:r>
            <a:endParaRPr lang="fr-FR" dirty="0"/>
          </a:p>
        </p:txBody>
      </p:sp>
      <p:pic>
        <p:nvPicPr>
          <p:cNvPr id="3368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602" y="1146411"/>
            <a:ext cx="3976029" cy="5704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llipse 4"/>
          <p:cNvSpPr/>
          <p:nvPr/>
        </p:nvSpPr>
        <p:spPr>
          <a:xfrm>
            <a:off x="5148618" y="1601831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1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6" name="Ellipse 5"/>
          <p:cNvSpPr/>
          <p:nvPr/>
        </p:nvSpPr>
        <p:spPr>
          <a:xfrm>
            <a:off x="5148618" y="2340722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2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7" name="Ellipse 6"/>
          <p:cNvSpPr/>
          <p:nvPr/>
        </p:nvSpPr>
        <p:spPr>
          <a:xfrm>
            <a:off x="5148618" y="3127741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3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5148618" y="3804854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4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1342599" y="2340722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1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2700469" y="3357202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2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1" name="Ellipse 10"/>
          <p:cNvSpPr/>
          <p:nvPr/>
        </p:nvSpPr>
        <p:spPr>
          <a:xfrm>
            <a:off x="1648720" y="4617621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3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3889612" y="4323286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4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5148618" y="4571166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5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2741212" y="2074484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5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5161788" y="5255829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6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3931509" y="2257500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6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5161788" y="5954140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7</a:t>
            </a: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1914766" y="2245111"/>
            <a:ext cx="306122" cy="366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smtClean="0">
                <a:solidFill>
                  <a:prstClr val="white"/>
                </a:solidFill>
              </a:rPr>
              <a:t>7</a:t>
            </a:r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3625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Vision cible Possible</a:t>
            </a:r>
            <a:endParaRPr lang="fr-FR" dirty="0"/>
          </a:p>
        </p:txBody>
      </p:sp>
      <p:pic>
        <p:nvPicPr>
          <p:cNvPr id="3368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536" y="1196720"/>
            <a:ext cx="6514143" cy="544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1376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ème Office">
  <a:themeElements>
    <a:clrScheme name="Verve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Thème Office">
  <a:themeElements>
    <a:clrScheme name="Verve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Thème Office">
  <a:themeElements>
    <a:clrScheme name="Verve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Verve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</Words>
  <Application>Microsoft Office PowerPoint</Application>
  <PresentationFormat>Affichage à l'écran (4:3)</PresentationFormat>
  <Paragraphs>34</Paragraphs>
  <Slides>4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9" baseType="lpstr">
      <vt:lpstr>1_Thème Office</vt:lpstr>
      <vt:lpstr>2_Thème Office</vt:lpstr>
      <vt:lpstr>3_Thème Office</vt:lpstr>
      <vt:lpstr>Thème Office</vt:lpstr>
      <vt:lpstr>think-cell Slide</vt:lpstr>
      <vt:lpstr>Vision globale de l’utilisation des services de ARC</vt:lpstr>
      <vt:lpstr>Principes des capacités de ARC</vt:lpstr>
      <vt:lpstr>ARC et gestion de la qualité</vt:lpstr>
      <vt:lpstr>Vision cible Possibl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 globale de l’utilisation des services de ARC</dc:title>
  <dc:creator>LADOUE Fabrice</dc:creator>
  <cp:lastModifiedBy>Taores</cp:lastModifiedBy>
  <cp:revision>1</cp:revision>
  <dcterms:created xsi:type="dcterms:W3CDTF">2016-10-21T10:54:02Z</dcterms:created>
  <dcterms:modified xsi:type="dcterms:W3CDTF">2016-10-21T10:55:36Z</dcterms:modified>
</cp:coreProperties>
</file>